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8" r:id="rId1"/>
  </p:sldMasterIdLst>
  <p:notesMasterIdLst>
    <p:notesMasterId r:id="rId7"/>
  </p:notesMasterIdLst>
  <p:handoutMasterIdLst>
    <p:handoutMasterId r:id="rId8"/>
  </p:handoutMasterIdLst>
  <p:sldIdLst>
    <p:sldId id="660" r:id="rId2"/>
    <p:sldId id="663" r:id="rId3"/>
    <p:sldId id="659" r:id="rId4"/>
    <p:sldId id="661" r:id="rId5"/>
    <p:sldId id="662" r:id="rId6"/>
  </p:sldIdLst>
  <p:sldSz cx="9144000" cy="5143500" type="screen16x9"/>
  <p:notesSz cx="6805613" cy="9939338"/>
  <p:custDataLst>
    <p:tags r:id="rId9"/>
  </p:custDataLst>
  <p:defaultTextStyle>
    <a:defPPr>
      <a:defRPr lang="en-US"/>
    </a:defPPr>
    <a:lvl1pPr marL="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6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9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1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5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37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1546AF60-B8B5-BD40-A707-607F99CD03F5}">
          <p14:sldIdLst>
            <p14:sldId id="660"/>
            <p14:sldId id="663"/>
            <p14:sldId id="659"/>
            <p14:sldId id="661"/>
            <p14:sldId id="662"/>
          </p14:sldIdLst>
        </p14:section>
        <p14:section name="Template" id="{DE814E5A-073F-4E4F-A210-230B0EC1B855}">
          <p14:sldIdLst/>
        </p14:section>
        <p14:section name="Assets" id="{0553DC1D-66F4-0B4D-BA47-FF773463D68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0A0"/>
    <a:srgbClr val="F2D9E9"/>
    <a:srgbClr val="FF8D6D"/>
    <a:srgbClr val="0081C7"/>
    <a:srgbClr val="D6D6D6"/>
    <a:srgbClr val="E10098"/>
    <a:srgbClr val="90276C"/>
    <a:srgbClr val="8C8B8B"/>
    <a:srgbClr val="868585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885" autoAdjust="0"/>
    <p:restoredTop sz="96341" autoAdjust="0"/>
  </p:normalViewPr>
  <p:slideViewPr>
    <p:cSldViewPr showGuides="1">
      <p:cViewPr varScale="1">
        <p:scale>
          <a:sx n="122" d="100"/>
          <a:sy n="122" d="100"/>
        </p:scale>
        <p:origin x="200" y="10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58" y="329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824"/>
    </p:cViewPr>
  </p:sorterViewPr>
  <p:notesViewPr>
    <p:cSldViewPr showGuides="1">
      <p:cViewPr varScale="1">
        <p:scale>
          <a:sx n="77" d="100"/>
          <a:sy n="77" d="100"/>
        </p:scale>
        <p:origin x="-3978" y="-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494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r">
              <a:defRPr sz="1400"/>
            </a:lvl1pPr>
          </a:lstStyle>
          <a:p>
            <a:fld id="{C84ABD84-B427-486C-B91D-F8364DDF0A46}" type="datetimeFigureOut">
              <a:rPr lang="en-US" smtClean="0">
                <a:latin typeface="AdihausDIN" panose="020B0506020101010102" pitchFamily="34" charset="0"/>
              </a:rPr>
              <a:t>3/15/19</a:t>
            </a:fld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494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r">
              <a:defRPr sz="1400"/>
            </a:lvl1pPr>
          </a:lstStyle>
          <a:p>
            <a:fld id="{B04F07B2-80B6-43CA-AA4A-473635943C69}" type="slidenum">
              <a:rPr lang="en-US" smtClean="0">
                <a:latin typeface="AdihausDIN" panose="020B0506020101010102" pitchFamily="34" charset="0"/>
              </a:rPr>
              <a:t>‹#›</a:t>
            </a:fld>
            <a:endParaRPr lang="en-US" dirty="0">
              <a:latin typeface="AdihausDI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896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6225" y="434975"/>
            <a:ext cx="6249988" cy="3516313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3523" y="4304426"/>
            <a:ext cx="4124128" cy="53496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783107" y="2"/>
            <a:ext cx="1707932" cy="179428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Presentation </a:t>
            </a:r>
            <a:r>
              <a:rPr lang="en-US" sz="500" b="1" dirty="0" err="1">
                <a:solidFill>
                  <a:schemeClr val="bg1"/>
                </a:solidFill>
                <a:latin typeface="AdihausDIN" panose="020B0506020101010102" pitchFamily="34" charset="0"/>
              </a:rPr>
              <a:t>handout</a:t>
            </a: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04" y="463878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04" y="497313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04" y="530749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04" y="564185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04" y="597620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04" y="631056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04" y="6644918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04" y="697927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04" y="7313629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04" y="764798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04" y="798234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04" y="8316697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04" y="865105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04" y="898541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04" y="9319765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04" y="965412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 bwMode="gray">
          <a:xfrm>
            <a:off x="4783104" y="4304425"/>
            <a:ext cx="1707492" cy="208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AdihausDIN" panose="020B0506020101010102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741765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346" rtl="0" eaLnBrk="1" latinLnBrk="0" hangingPunct="1">
      <a:lnSpc>
        <a:spcPct val="110000"/>
      </a:lnSpc>
      <a:buSzPct val="90000"/>
      <a:buFont typeface="Wingdings" pitchFamily="2" charset="2"/>
      <a:buNone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1pPr>
    <a:lvl2pPr marL="107993" indent="-107993" algn="l" defTabSz="914346" rtl="0" eaLnBrk="1" latinLnBrk="0" hangingPunct="1">
      <a:lnSpc>
        <a:spcPct val="110000"/>
      </a:lnSpc>
      <a:buSzPct val="90000"/>
      <a:buFont typeface="Wingdings" pitchFamily="2" charset="2"/>
      <a:buChar char="§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2pPr>
    <a:lvl3pPr marL="107993" indent="-107993" algn="l" defTabSz="914346" rtl="0" eaLnBrk="1" latinLnBrk="0" hangingPunct="1">
      <a:lnSpc>
        <a:spcPct val="110000"/>
      </a:lnSpc>
      <a:buSzPct val="90000"/>
      <a:buFont typeface="Symbol" pitchFamily="18" charset="2"/>
      <a:buChar char="-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3pPr>
    <a:lvl4pPr marL="107993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4pPr>
    <a:lvl5pPr marL="215987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5pPr>
    <a:lvl6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microsoft.com/office/2007/relationships/hdphoto" Target="NUL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NULL"/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-1" y="4732338"/>
            <a:ext cx="3059114" cy="411162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359532" y="842964"/>
            <a:ext cx="5004556" cy="2608954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54" tIns="72554" rIns="72554" bIns="725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8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280" y="2273215"/>
            <a:ext cx="2159552" cy="59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6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tabLst>
                <a:tab pos="2393950" algn="l"/>
              </a:tabLst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bg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4319972" y="843757"/>
            <a:ext cx="4366828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 b="0" i="0" cap="all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 flipV="1">
            <a:off x="3923928" y="864161"/>
            <a:ext cx="1" cy="341518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6" y="842963"/>
            <a:ext cx="2700338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400" b="0" i="0" cap="none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842963"/>
            <a:ext cx="2094157" cy="3457576"/>
          </a:xfrm>
          <a:prstGeom prst="rect">
            <a:avLst/>
          </a:prstGeom>
        </p:spPr>
        <p:txBody>
          <a:bodyPr tIns="180000" rIns="0" bIns="0" anchor="ctr" anchorCtr="0"/>
          <a:lstStyle>
            <a:lvl1pPr algn="r">
              <a:defRPr sz="7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4000" b="0" i="0" cap="all" baseline="0">
                <a:solidFill>
                  <a:schemeClr val="tx1"/>
                </a:solidFill>
                <a:latin typeface="+mn-lt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 flipV="1">
            <a:off x="2918400" y="1976793"/>
            <a:ext cx="1" cy="1196999"/>
          </a:xfrm>
          <a:prstGeom prst="line">
            <a:avLst/>
          </a:prstGeom>
          <a:ln w="38100">
            <a:solidFill>
              <a:srgbClr val="2CD5C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303214"/>
            <a:ext cx="8421688" cy="5397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61951" y="1058863"/>
            <a:ext cx="8418512" cy="3652814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1pPr>
            <a:lvl2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2pPr>
            <a:lvl3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3pPr>
            <a:lvl4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4pPr>
            <a:lvl5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66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346" rtl="0" eaLnBrk="1" latinLnBrk="0" hangingPunct="1">
              <a:defRPr sz="800" b="1" i="0" kern="120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 marL="45717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6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19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1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5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37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0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957" b="39957"/>
          <a:stretch>
            <a:fillRect/>
          </a:stretch>
        </p:blipFill>
        <p:spPr>
          <a:xfrm>
            <a:off x="0" y="1"/>
            <a:ext cx="9144000" cy="971550"/>
          </a:xfrm>
          <a:prstGeom prst="rect">
            <a:avLst/>
          </a:prstGeom>
        </p:spPr>
      </p:pic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85" y="213906"/>
            <a:ext cx="2112852" cy="77480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301966"/>
            <a:ext cx="4213224" cy="1133383"/>
          </a:xfrm>
        </p:spPr>
        <p:txBody>
          <a:bodyPr anchor="ctr"/>
          <a:lstStyle>
            <a:lvl1pPr>
              <a:defRPr b="1" i="0" baseline="0"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marL="220050" marR="0" lvl="0" indent="-180000" algn="l" defTabSz="7200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" charset="2"/>
              <a:buNone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/>
            </a:pPr>
            <a:r>
              <a:rPr lang="en-US" dirty="0"/>
              <a:t>John Do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4284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464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61736601"/>
              </p:ext>
            </p:extLst>
          </p:nvPr>
        </p:nvGraphicFramePr>
        <p:xfrm>
          <a:off x="1601" y="1600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01" y="1600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88908" y="-92546"/>
            <a:ext cx="9341424" cy="5327687"/>
            <a:chOff x="-88908" y="-92546"/>
            <a:chExt cx="9341424" cy="5327687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547813" y="-92546"/>
              <a:ext cx="0" cy="5326781"/>
              <a:chOff x="1522293" y="-92546"/>
              <a:chExt cx="0" cy="5326781"/>
            </a:xfrm>
          </p:grpSpPr>
          <p:cxnSp>
            <p:nvCxnSpPr>
              <p:cNvPr id="253" name="Straight Connector 252"/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88908" y="303213"/>
              <a:ext cx="9341424" cy="0"/>
              <a:chOff x="-88214" y="428625"/>
              <a:chExt cx="9268445" cy="0"/>
            </a:xfrm>
          </p:grpSpPr>
          <p:cxnSp>
            <p:nvCxnSpPr>
              <p:cNvPr id="256" name="Straight Connector 255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oup 259"/>
            <p:cNvGrpSpPr/>
            <p:nvPr userDrawn="1"/>
          </p:nvGrpSpPr>
          <p:grpSpPr>
            <a:xfrm>
              <a:off x="358775" y="-92546"/>
              <a:ext cx="0" cy="5326781"/>
              <a:chOff x="1746825" y="-56409"/>
              <a:chExt cx="0" cy="5287323"/>
            </a:xfrm>
          </p:grpSpPr>
          <p:cxnSp>
            <p:nvCxnSpPr>
              <p:cNvPr id="261" name="Straight Connector 260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3" name="Group 262"/>
            <p:cNvGrpSpPr/>
            <p:nvPr userDrawn="1"/>
          </p:nvGrpSpPr>
          <p:grpSpPr>
            <a:xfrm>
              <a:off x="3057902" y="-92546"/>
              <a:ext cx="2673" cy="5326781"/>
              <a:chOff x="3140041" y="-56409"/>
              <a:chExt cx="2652" cy="5287323"/>
            </a:xfrm>
          </p:grpSpPr>
          <p:cxnSp>
            <p:nvCxnSpPr>
              <p:cNvPr id="264" name="Straight Connector 26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 userDrawn="1"/>
          </p:nvGrpSpPr>
          <p:grpSpPr>
            <a:xfrm>
              <a:off x="7596188" y="-92546"/>
              <a:ext cx="0" cy="5326781"/>
              <a:chOff x="7619200" y="-56830"/>
              <a:chExt cx="0" cy="5326781"/>
            </a:xfrm>
          </p:grpSpPr>
          <p:cxnSp>
            <p:nvCxnSpPr>
              <p:cNvPr id="269" name="Straight Connector 268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/>
            <p:cNvGrpSpPr/>
            <p:nvPr userDrawn="1"/>
          </p:nvGrpSpPr>
          <p:grpSpPr>
            <a:xfrm>
              <a:off x="4570664" y="-91640"/>
              <a:ext cx="2673" cy="5326781"/>
              <a:chOff x="3140041" y="-56409"/>
              <a:chExt cx="2652" cy="5287323"/>
            </a:xfrm>
          </p:grpSpPr>
          <p:cxnSp>
            <p:nvCxnSpPr>
              <p:cNvPr id="274" name="Straight Connector 27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8" name="Group 277"/>
            <p:cNvGrpSpPr/>
            <p:nvPr userDrawn="1"/>
          </p:nvGrpSpPr>
          <p:grpSpPr>
            <a:xfrm>
              <a:off x="6083426" y="-92546"/>
              <a:ext cx="2673" cy="5326781"/>
              <a:chOff x="3140041" y="-56409"/>
              <a:chExt cx="2652" cy="5287323"/>
            </a:xfrm>
          </p:grpSpPr>
          <p:cxnSp>
            <p:nvCxnSpPr>
              <p:cNvPr id="279" name="Straight Connector 278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Straight Connector 280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3" name="Group 282"/>
            <p:cNvGrpSpPr/>
            <p:nvPr userDrawn="1"/>
          </p:nvGrpSpPr>
          <p:grpSpPr>
            <a:xfrm>
              <a:off x="8785225" y="-91640"/>
              <a:ext cx="0" cy="5326781"/>
              <a:chOff x="1746825" y="-56409"/>
              <a:chExt cx="0" cy="5287323"/>
            </a:xfrm>
          </p:grpSpPr>
          <p:cxnSp>
            <p:nvCxnSpPr>
              <p:cNvPr id="284" name="Straight Connector 283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6" name="Group 285"/>
            <p:cNvGrpSpPr/>
            <p:nvPr userDrawn="1"/>
          </p:nvGrpSpPr>
          <p:grpSpPr>
            <a:xfrm>
              <a:off x="-88908" y="842963"/>
              <a:ext cx="9341424" cy="0"/>
              <a:chOff x="-88214" y="406099"/>
              <a:chExt cx="9268445" cy="0"/>
            </a:xfrm>
          </p:grpSpPr>
          <p:cxnSp>
            <p:nvCxnSpPr>
              <p:cNvPr id="287" name="Straight Connector 28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1" name="Group 290"/>
            <p:cNvGrpSpPr/>
            <p:nvPr userDrawn="1"/>
          </p:nvGrpSpPr>
          <p:grpSpPr>
            <a:xfrm>
              <a:off x="-88908" y="1707357"/>
              <a:ext cx="9341424" cy="0"/>
              <a:chOff x="-88214" y="406099"/>
              <a:chExt cx="9268445" cy="0"/>
            </a:xfrm>
          </p:grpSpPr>
          <p:cxnSp>
            <p:nvCxnSpPr>
              <p:cNvPr id="292" name="Straight Connector 29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295"/>
            <p:cNvGrpSpPr/>
            <p:nvPr userDrawn="1"/>
          </p:nvGrpSpPr>
          <p:grpSpPr>
            <a:xfrm>
              <a:off x="-88908" y="3436145"/>
              <a:ext cx="9341424" cy="0"/>
              <a:chOff x="-88214" y="406099"/>
              <a:chExt cx="9268445" cy="0"/>
            </a:xfrm>
          </p:grpSpPr>
          <p:cxnSp>
            <p:nvCxnSpPr>
              <p:cNvPr id="297" name="Straight Connector 29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/>
            <p:cNvGrpSpPr/>
            <p:nvPr userDrawn="1"/>
          </p:nvGrpSpPr>
          <p:grpSpPr>
            <a:xfrm>
              <a:off x="-88908" y="4300538"/>
              <a:ext cx="9341424" cy="0"/>
              <a:chOff x="-88214" y="406099"/>
              <a:chExt cx="9268445" cy="0"/>
            </a:xfrm>
          </p:grpSpPr>
          <p:cxnSp>
            <p:nvCxnSpPr>
              <p:cNvPr id="302" name="Straight Connector 30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6" name="Group 305"/>
            <p:cNvGrpSpPr/>
            <p:nvPr userDrawn="1"/>
          </p:nvGrpSpPr>
          <p:grpSpPr>
            <a:xfrm>
              <a:off x="-88908" y="2571751"/>
              <a:ext cx="9341424" cy="0"/>
              <a:chOff x="-88214" y="406099"/>
              <a:chExt cx="9268445" cy="0"/>
            </a:xfrm>
          </p:grpSpPr>
          <p:cxnSp>
            <p:nvCxnSpPr>
              <p:cNvPr id="307" name="Straight Connector 30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1" name="Group 310"/>
            <p:cNvGrpSpPr/>
            <p:nvPr userDrawn="1"/>
          </p:nvGrpSpPr>
          <p:grpSpPr>
            <a:xfrm>
              <a:off x="-88908" y="4732338"/>
              <a:ext cx="9341424" cy="0"/>
              <a:chOff x="-88214" y="406099"/>
              <a:chExt cx="9268445" cy="0"/>
            </a:xfrm>
          </p:grpSpPr>
          <p:cxnSp>
            <p:nvCxnSpPr>
              <p:cNvPr id="312" name="Straight Connector 31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96187" y="4732338"/>
            <a:ext cx="1189037" cy="4111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i="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58775" y="850824"/>
            <a:ext cx="8426449" cy="3881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9022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80" r:id="rId2"/>
    <p:sldLayoutId id="2147484078" r:id="rId3"/>
    <p:sldLayoutId id="2147484079" r:id="rId4"/>
    <p:sldLayoutId id="2147484081" r:id="rId5"/>
    <p:sldLayoutId id="2147484041" r:id="rId6"/>
    <p:sldLayoutId id="2147484084" r:id="rId7"/>
    <p:sldLayoutId id="2147484085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46" rtl="0" eaLnBrk="1" latinLnBrk="0" hangingPunct="1">
        <a:lnSpc>
          <a:spcPct val="80000"/>
        </a:lnSpc>
        <a:spcBef>
          <a:spcPct val="0"/>
        </a:spcBef>
        <a:buClrTx/>
        <a:buNone/>
        <a:defRPr sz="1800" strike="noStrike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hangingPunct="1">
        <a:lnSpc>
          <a:spcPct val="80000"/>
        </a:lnSpc>
        <a:defRPr kern="1200" cap="all" spc="0" baseline="0">
          <a:solidFill>
            <a:sysClr val="windowText" lastClr="000000"/>
          </a:solidFill>
          <a:latin typeface="+mj-lt"/>
        </a:defRPr>
      </a:lvl2pPr>
      <a:lvl3pPr algn="l" rtl="0" eaLnBrk="1" hangingPunct="1">
        <a:lnSpc>
          <a:spcPct val="80000"/>
        </a:lnSpc>
        <a:defRPr kern="1200" cap="all" baseline="0">
          <a:latin typeface="+mj-lt"/>
        </a:defRPr>
      </a:lvl3pPr>
      <a:lvl4pPr algn="l" rtl="0" eaLnBrk="1" hangingPunct="1">
        <a:lnSpc>
          <a:spcPct val="80000"/>
        </a:lnSpc>
        <a:defRPr kern="1200" cap="all" baseline="0">
          <a:latin typeface="+mj-lt"/>
        </a:defRPr>
      </a:lvl4pPr>
      <a:lvl5pPr algn="l" rtl="0" eaLnBrk="1" hangingPunct="1">
        <a:lnSpc>
          <a:spcPct val="80000"/>
        </a:lnSpc>
        <a:defRPr kern="1200" cap="all" baseline="0">
          <a:latin typeface="+mj-lt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marL="220050" indent="-180000" algn="l" defTabSz="7200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  <a:tab pos="2880000" algn="l"/>
          <a:tab pos="3240000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1pPr>
      <a:lvl2pPr marL="580050" indent="-180000" algn="l" defTabSz="10800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720000" algn="l"/>
          <a:tab pos="1080000" algn="l"/>
          <a:tab pos="1440000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2pPr>
      <a:lvl3pPr marL="94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3pPr>
      <a:lvl4pPr marL="130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4pPr>
      <a:lvl5pPr marL="166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5pPr>
      <a:lvl6pPr marL="202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6pPr>
      <a:lvl7pPr marL="238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7pPr>
      <a:lvl8pPr marL="27400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8pPr>
      <a:lvl9pPr marL="30514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1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27" userDrawn="1">
          <p15:clr>
            <a:srgbClr val="F26B43"/>
          </p15:clr>
        </p15:guide>
        <p15:guide id="4" pos="3833" userDrawn="1">
          <p15:clr>
            <a:srgbClr val="F26B43"/>
          </p15:clr>
        </p15:guide>
        <p15:guide id="5" pos="4785" userDrawn="1">
          <p15:clr>
            <a:srgbClr val="F26B43"/>
          </p15:clr>
        </p15:guide>
        <p15:guide id="6" pos="975" userDrawn="1">
          <p15:clr>
            <a:srgbClr val="F26B43"/>
          </p15:clr>
        </p15:guide>
        <p15:guide id="7" pos="226" userDrawn="1">
          <p15:clr>
            <a:srgbClr val="F26B43"/>
          </p15:clr>
        </p15:guide>
        <p15:guide id="8" pos="5534" userDrawn="1">
          <p15:clr>
            <a:srgbClr val="F26B43"/>
          </p15:clr>
        </p15:guide>
        <p15:guide id="9" orient="horz" pos="1076" userDrawn="1">
          <p15:clr>
            <a:srgbClr val="F26B43"/>
          </p15:clr>
        </p15:guide>
        <p15:guide id="10" orient="horz" pos="2164" userDrawn="1">
          <p15:clr>
            <a:srgbClr val="F26B43"/>
          </p15:clr>
        </p15:guide>
        <p15:guide id="11" orient="horz" pos="2709" userDrawn="1">
          <p15:clr>
            <a:srgbClr val="F26B43"/>
          </p15:clr>
        </p15:guide>
        <p15:guide id="12" orient="horz" pos="531" userDrawn="1">
          <p15:clr>
            <a:srgbClr val="F26B43"/>
          </p15:clr>
        </p15:guide>
        <p15:guide id="13" orient="horz" pos="191" userDrawn="1">
          <p15:clr>
            <a:srgbClr val="F26B43"/>
          </p15:clr>
        </p15:guide>
        <p15:guide id="14" orient="horz" pos="2981" userDrawn="1">
          <p15:clr>
            <a:srgbClr val="F26B43"/>
          </p15:clr>
        </p15:guide>
        <p15:guide id="15" orient="horz" pos="3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3D36F-C215-C942-BB4D-4DB175495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Features for cluster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7E34DF-54C0-F548-AC5F-ED9C1DA025D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03DC70-91A6-FC48-803C-EE1E5541EDA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3303" y="1000308"/>
            <a:ext cx="7987402" cy="3428476"/>
          </a:xfrm>
        </p:spPr>
        <p:txBody>
          <a:bodyPr numCol="1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Start with 14 features per transaction (~13 million):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'</a:t>
            </a:r>
            <a:r>
              <a:rPr lang="en-US" sz="1600" dirty="0" err="1"/>
              <a:t>article_number</a:t>
            </a:r>
            <a:r>
              <a:rPr lang="en-US" sz="1600" dirty="0"/>
              <a:t>’, '</a:t>
            </a:r>
            <a:r>
              <a:rPr lang="en-US" sz="1600" dirty="0" err="1"/>
              <a:t>gross_demand_quantity</a:t>
            </a:r>
            <a:r>
              <a:rPr lang="en-US" sz="1600" dirty="0"/>
              <a:t>’, '</a:t>
            </a:r>
            <a:r>
              <a:rPr lang="en-US" sz="1600" dirty="0" err="1"/>
              <a:t>sold_qty</a:t>
            </a:r>
            <a:r>
              <a:rPr lang="en-US" sz="1600" dirty="0"/>
              <a:t>’, '</a:t>
            </a:r>
            <a:r>
              <a:rPr lang="en-US" sz="1600" dirty="0" err="1"/>
              <a:t>net_qty</a:t>
            </a:r>
            <a:r>
              <a:rPr lang="en-US" sz="1600" dirty="0"/>
              <a:t>’, 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'</a:t>
            </a:r>
            <a:r>
              <a:rPr lang="en-US" sz="1600" dirty="0" err="1"/>
              <a:t>gross_sales_gross_disc_net_ret</a:t>
            </a:r>
            <a:r>
              <a:rPr lang="en-US" sz="1600" dirty="0"/>
              <a:t>’, '</a:t>
            </a:r>
            <a:r>
              <a:rPr lang="en-US" sz="1600" dirty="0" err="1"/>
              <a:t>gross_sales_net_disc_gross_ret</a:t>
            </a:r>
            <a:r>
              <a:rPr lang="en-US" sz="1600" dirty="0"/>
              <a:t>’, 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'</a:t>
            </a:r>
            <a:r>
              <a:rPr lang="en-US" sz="1600" dirty="0" err="1"/>
              <a:t>net_sales</a:t>
            </a:r>
            <a:r>
              <a:rPr lang="en-US" sz="1600" dirty="0"/>
              <a:t>', '</a:t>
            </a:r>
            <a:r>
              <a:rPr lang="en-US" sz="1600" dirty="0" err="1"/>
              <a:t>total_markdown</a:t>
            </a:r>
            <a:r>
              <a:rPr lang="en-US" sz="1600" dirty="0"/>
              <a:t>’, '</a:t>
            </a:r>
            <a:r>
              <a:rPr lang="en-US" sz="1600" dirty="0" err="1"/>
              <a:t>temporary_markdown</a:t>
            </a:r>
            <a:r>
              <a:rPr lang="en-US" sz="1600" dirty="0"/>
              <a:t>', '</a:t>
            </a:r>
            <a:r>
              <a:rPr lang="en-US" sz="1600" dirty="0" err="1"/>
              <a:t>permanent_markdown</a:t>
            </a:r>
            <a:r>
              <a:rPr lang="en-US" sz="1600" dirty="0"/>
              <a:t>’, 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'</a:t>
            </a:r>
            <a:r>
              <a:rPr lang="en-US" sz="1600" dirty="0" err="1"/>
              <a:t>employee_markdown</a:t>
            </a:r>
            <a:r>
              <a:rPr lang="en-US" sz="1600" dirty="0"/>
              <a:t>', '</a:t>
            </a:r>
            <a:r>
              <a:rPr lang="en-US" sz="1600" dirty="0" err="1"/>
              <a:t>fraction_of_full_price</a:t>
            </a:r>
            <a:r>
              <a:rPr lang="en-US" sz="1600" dirty="0"/>
              <a:t>', 'markdown', 'sale’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Then </a:t>
            </a:r>
            <a:r>
              <a:rPr lang="en-US" sz="1600" b="1" dirty="0"/>
              <a:t>for each article </a:t>
            </a:r>
            <a:r>
              <a:rPr lang="en-US" sz="1600" dirty="0"/>
              <a:t>(~14000</a:t>
            </a:r>
            <a:r>
              <a:rPr lang="en-US" sz="1600"/>
              <a:t>) calculate</a:t>
            </a:r>
            <a:r>
              <a:rPr lang="en-US" sz="1600" dirty="0"/>
              <a:t>: 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minimum, median, mean, maximum, standard deviation, and sum</a:t>
            </a:r>
          </a:p>
        </p:txBody>
      </p:sp>
    </p:spTree>
    <p:extLst>
      <p:ext uri="{BB962C8B-B14F-4D97-AF65-F5344CB8AC3E}">
        <p14:creationId xmlns:p14="http://schemas.microsoft.com/office/powerpoint/2010/main" val="268955435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K-means cluster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numCol="2"/>
          <a:lstStyle/>
          <a:p>
            <a:pPr>
              <a:lnSpc>
                <a:spcPct val="100000"/>
              </a:lnSpc>
            </a:pPr>
            <a:r>
              <a:rPr lang="en-US" sz="1600" dirty="0"/>
              <a:t>K-means algorithm yields: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37436 ’basic’ article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9136 ‘non-basic’ articles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This plot: log(</a:t>
            </a:r>
            <a:r>
              <a:rPr lang="en-US" sz="1600" dirty="0" err="1"/>
              <a:t>sold_qty</a:t>
            </a:r>
            <a:r>
              <a:rPr lang="en-US" sz="1600" dirty="0"/>
              <a:t>) vs. </a:t>
            </a:r>
            <a:r>
              <a:rPr lang="en-US" sz="1600" dirty="0" err="1"/>
              <a:t>sale_price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 err="1"/>
              <a:t>Puple</a:t>
            </a:r>
            <a:r>
              <a:rPr lang="en-US" sz="1600" dirty="0"/>
              <a:t> = ‘basic’ article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Yellow = ‘non-basic’ articles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Second method, agglomerative clustering 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Supports k-means result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~92% agreement between methods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AFAA15-71CB-554D-BCF6-A53AD203E5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1482" y="1143350"/>
            <a:ext cx="4597647" cy="35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18311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FAA4A-3397-B04E-B3A7-F882E4975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2"/>
            <a:ext cx="8426450" cy="679625"/>
          </a:xfrm>
        </p:spPr>
        <p:txBody>
          <a:bodyPr numCol="1">
            <a:noAutofit/>
          </a:bodyPr>
          <a:lstStyle/>
          <a:p>
            <a:pPr algn="ctr"/>
            <a:r>
              <a:rPr lang="en-US" sz="2400" dirty="0"/>
              <a:t>Basic vs. Non-Basic</a:t>
            </a:r>
            <a:br>
              <a:rPr lang="en-US" sz="2400" dirty="0"/>
            </a:br>
            <a:r>
              <a:rPr lang="en-US" sz="2400" dirty="0" err="1"/>
              <a:t>gross_Demand_quantity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63C3C-D115-244D-AE8A-0800554539D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F64737-3750-7649-929E-2193E50C36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numCol="1">
            <a:normAutofit/>
          </a:bodyPr>
          <a:lstStyle/>
          <a:p>
            <a:r>
              <a:rPr lang="en-US" sz="1600" dirty="0" err="1"/>
              <a:t>gross_demand_quantity</a:t>
            </a:r>
            <a:r>
              <a:rPr lang="en-US" sz="1600" dirty="0"/>
              <a:t> – units of requested orders (before cancellations</a:t>
            </a:r>
          </a:p>
          <a:p>
            <a:r>
              <a:rPr lang="en-US" sz="1600" dirty="0"/>
              <a:t>Histograms show distribution of article total orders</a:t>
            </a:r>
          </a:p>
          <a:p>
            <a:pPr lvl="1"/>
            <a:r>
              <a:rPr lang="en-US" sz="1600" dirty="0"/>
              <a:t>‘basic’ article order totals are lower than ‘non-basic’ average order total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48B2DD-7C56-0B4F-98A2-F970458D5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231" y="1909176"/>
            <a:ext cx="3392180" cy="32152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AC5C34-D898-6C44-A6C7-379756C213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1941826"/>
            <a:ext cx="3276600" cy="31662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AEDF5BE-F13C-7A49-8AA7-D226EBF4A05A}"/>
              </a:ext>
            </a:extLst>
          </p:cNvPr>
          <p:cNvSpPr txBox="1"/>
          <p:nvPr/>
        </p:nvSpPr>
        <p:spPr bwMode="gray">
          <a:xfrm>
            <a:off x="8839200" y="2417379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5777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36EEB-141D-FB48-94F7-5A0E05E95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2000" dirty="0"/>
              <a:t>Basic vs. non-basic</a:t>
            </a:r>
            <a:br>
              <a:rPr lang="en-US" sz="2000" dirty="0"/>
            </a:br>
            <a:r>
              <a:rPr lang="en-US" sz="2000" dirty="0"/>
              <a:t>Article sale price</a:t>
            </a:r>
            <a:br>
              <a:rPr lang="en-US" sz="2000" dirty="0"/>
            </a:br>
            <a:r>
              <a:rPr lang="en-US" sz="2000" dirty="0"/>
              <a:t>	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08444D-B9C0-234B-BD45-C66D6C6B1C7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BF8483-2EE8-B445-B1BD-5092B9C74A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0220" y="971550"/>
            <a:ext cx="7430189" cy="3600276"/>
          </a:xfrm>
        </p:spPr>
        <p:txBody>
          <a:bodyPr>
            <a:normAutofit/>
          </a:bodyPr>
          <a:lstStyle/>
          <a:p>
            <a:r>
              <a:rPr lang="en-US" sz="1600" dirty="0"/>
              <a:t>Histograms show distribution of article prices</a:t>
            </a:r>
          </a:p>
          <a:p>
            <a:pPr lvl="1"/>
            <a:r>
              <a:rPr lang="en-US" sz="1600" dirty="0"/>
              <a:t>Average sale price of basic item is lower than for non-basic items</a:t>
            </a:r>
          </a:p>
          <a:p>
            <a:r>
              <a:rPr lang="en-US" sz="1600" dirty="0"/>
              <a:t>Non-basic items are more expensive</a:t>
            </a:r>
          </a:p>
          <a:p>
            <a:pPr marL="40050" indent="0">
              <a:buNone/>
            </a:pP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2AA666-B095-3A45-8572-7941D5B2FC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9345" y="1809750"/>
            <a:ext cx="3390789" cy="32370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F43B32-7D6B-3747-9C5A-7FE9FCEC2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731" y="1809750"/>
            <a:ext cx="3484349" cy="323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1524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A4023-718F-3F42-8A65-C97F8DA67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Basic vs. non-bas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DC7420-DB89-1642-98F4-372BF4E6693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24FB71-B791-C842-A1E2-E563DE8C297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714400"/>
          </a:xfrm>
        </p:spPr>
        <p:txBody>
          <a:bodyPr numCol="2">
            <a:noAutofit/>
          </a:bodyPr>
          <a:lstStyle/>
          <a:p>
            <a:r>
              <a:rPr lang="en-US" sz="2000" dirty="0"/>
              <a:t>Basic examples</a:t>
            </a:r>
          </a:p>
          <a:p>
            <a:pPr lvl="1"/>
            <a:r>
              <a:rPr lang="en-US" sz="1600" dirty="0"/>
              <a:t>REEBOK ROYAL CLJOG 2 KC</a:t>
            </a:r>
          </a:p>
          <a:p>
            <a:pPr lvl="1"/>
            <a:r>
              <a:rPr lang="en-US" sz="1600" dirty="0"/>
              <a:t>REEBOK ROYAL COMPLETE CLN</a:t>
            </a:r>
          </a:p>
          <a:p>
            <a:pPr lvl="1"/>
            <a:r>
              <a:rPr lang="en-US" sz="1600" dirty="0"/>
              <a:t>CLASSIC LEATHER</a:t>
            </a:r>
          </a:p>
          <a:p>
            <a:pPr lvl="1"/>
            <a:r>
              <a:rPr lang="en-US" sz="1600" dirty="0"/>
              <a:t>RE SS TEE</a:t>
            </a:r>
          </a:p>
          <a:p>
            <a:pPr lvl="1"/>
            <a:r>
              <a:rPr lang="en-US" sz="1600" dirty="0"/>
              <a:t>T-SHIRT</a:t>
            </a:r>
          </a:p>
          <a:p>
            <a:pPr lvl="1"/>
            <a:r>
              <a:rPr lang="en-US" sz="1600" dirty="0"/>
              <a:t>REEBOK CLASSIC SLIDE</a:t>
            </a:r>
          </a:p>
          <a:p>
            <a:pPr lvl="1"/>
            <a:r>
              <a:rPr lang="en-US" sz="1600" dirty="0"/>
              <a:t>TRACK TOP</a:t>
            </a:r>
          </a:p>
          <a:p>
            <a:pPr lvl="1"/>
            <a:r>
              <a:rPr lang="en-US" sz="1600" dirty="0"/>
              <a:t>REEBOK ROYAL PRIM</a:t>
            </a:r>
          </a:p>
          <a:p>
            <a:pPr lvl="1"/>
            <a:r>
              <a:rPr lang="en-US" sz="1600" dirty="0"/>
              <a:t>REEBOK ROYAL CL JOGGER 2</a:t>
            </a:r>
          </a:p>
          <a:p>
            <a:pPr lvl="1"/>
            <a:r>
              <a:rPr lang="en-US" sz="1600" dirty="0"/>
              <a:t>ADIPERFORM POLO</a:t>
            </a:r>
          </a:p>
          <a:p>
            <a:pPr lvl="1"/>
            <a:r>
              <a:rPr lang="en-US" sz="1600" dirty="0"/>
              <a:t>ADI-EASE</a:t>
            </a:r>
            <a:br>
              <a:rPr lang="en-US" sz="1600" dirty="0"/>
            </a:br>
            <a:endParaRPr lang="en-US" sz="1600" dirty="0"/>
          </a:p>
          <a:p>
            <a:r>
              <a:rPr lang="en-US" sz="2000" dirty="0"/>
              <a:t>Non-basic examples</a:t>
            </a:r>
          </a:p>
          <a:p>
            <a:pPr lvl="1"/>
            <a:r>
              <a:rPr lang="en-US" sz="1600" dirty="0"/>
              <a:t>STAN SMITH</a:t>
            </a:r>
          </a:p>
          <a:p>
            <a:pPr lvl="1"/>
            <a:r>
              <a:rPr lang="en-US" sz="1600" dirty="0"/>
              <a:t>SUPERSTAR</a:t>
            </a:r>
          </a:p>
          <a:p>
            <a:pPr lvl="1"/>
            <a:r>
              <a:rPr lang="en-US" sz="1600" dirty="0" err="1"/>
              <a:t>UltraBOOST</a:t>
            </a:r>
            <a:r>
              <a:rPr lang="en-US" sz="1600" dirty="0"/>
              <a:t>  </a:t>
            </a:r>
          </a:p>
          <a:p>
            <a:pPr lvl="1"/>
            <a:r>
              <a:rPr lang="en-US" sz="1600" dirty="0"/>
              <a:t>GAZELLE</a:t>
            </a:r>
          </a:p>
          <a:p>
            <a:pPr lvl="1"/>
            <a:r>
              <a:rPr lang="en-US" sz="1600" dirty="0"/>
              <a:t>STAN SMITH W</a:t>
            </a:r>
          </a:p>
          <a:p>
            <a:pPr lvl="1"/>
            <a:r>
              <a:rPr lang="en-US" sz="1600" dirty="0"/>
              <a:t>R CROSSFIT NANO 8.0 </a:t>
            </a:r>
          </a:p>
          <a:p>
            <a:pPr lvl="1"/>
            <a:r>
              <a:rPr lang="en-US" sz="1600" dirty="0"/>
              <a:t>SUPERSTAR W</a:t>
            </a:r>
          </a:p>
          <a:p>
            <a:pPr lvl="1"/>
            <a:r>
              <a:rPr lang="en-US" sz="1600" dirty="0"/>
              <a:t>PW TENNIS HU</a:t>
            </a:r>
          </a:p>
          <a:p>
            <a:pPr lvl="1"/>
            <a:r>
              <a:rPr lang="en-US" sz="1600" dirty="0"/>
              <a:t>SUPERSTAR 80s</a:t>
            </a:r>
          </a:p>
          <a:p>
            <a:pPr lvl="1"/>
            <a:r>
              <a:rPr lang="en-US" sz="1600" dirty="0"/>
              <a:t>DEERUPT RUNNER</a:t>
            </a:r>
          </a:p>
          <a:p>
            <a:pPr lvl="1"/>
            <a:r>
              <a:rPr lang="en-US" sz="1600" dirty="0" err="1"/>
              <a:t>PureBOOST</a:t>
            </a:r>
            <a:r>
              <a:rPr lang="en-US" sz="1600" dirty="0"/>
              <a:t>, PROPHERE</a:t>
            </a:r>
          </a:p>
        </p:txBody>
      </p:sp>
    </p:spTree>
    <p:extLst>
      <p:ext uri="{BB962C8B-B14F-4D97-AF65-F5344CB8AC3E}">
        <p14:creationId xmlns:p14="http://schemas.microsoft.com/office/powerpoint/2010/main" val="1069752947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9dda88443082203f79f77cdab4a4d557b43c7d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21_Digital_Analytics_Template">
  <a:themeElements>
    <a:clrScheme name="Digital Analytics 1">
      <a:dk1>
        <a:srgbClr val="000000"/>
      </a:dk1>
      <a:lt1>
        <a:srgbClr val="FFFFFF"/>
      </a:lt1>
      <a:dk2>
        <a:srgbClr val="D6D6D6"/>
      </a:dk2>
      <a:lt2>
        <a:srgbClr val="FFFFFF"/>
      </a:lt2>
      <a:accent1>
        <a:srgbClr val="04D5C3"/>
      </a:accent1>
      <a:accent2>
        <a:srgbClr val="F9413A"/>
      </a:accent2>
      <a:accent3>
        <a:srgbClr val="009638"/>
      </a:accent3>
      <a:accent4>
        <a:srgbClr val="5BC2E7"/>
      </a:accent4>
      <a:accent5>
        <a:srgbClr val="FEDD00"/>
      </a:accent5>
      <a:accent6>
        <a:srgbClr val="3078E2"/>
      </a:accent6>
      <a:hlink>
        <a:srgbClr val="000000"/>
      </a:hlink>
      <a:folHlink>
        <a:srgbClr val="000000"/>
      </a:folHlink>
    </a:clrScheme>
    <a:fontScheme name="Custom 1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2CD5C4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0"/>
          </a:spcBef>
          <a:defRPr sz="1400" cap="all" dirty="0" smtClean="0">
            <a:latin typeface="+mj-lt"/>
            <a:cs typeface="AdihausDIN" panose="020B050402010102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2CD5C4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12700" cap="sq">
          <a:noFill/>
          <a:miter lim="800000"/>
        </a:ln>
      </a:spPr>
      <a:bodyPr vert="horz" wrap="none" lIns="0" tIns="0" rIns="0" bIns="0" rtlCol="0" anchor="t" anchorCtr="0">
        <a:noAutofit/>
      </a:bodyPr>
      <a:lstStyle>
        <a:defPPr>
          <a:lnSpc>
            <a:spcPct val="90000"/>
          </a:lnSpc>
          <a:defRPr sz="1200" dirty="0" smtClean="0">
            <a:latin typeface="AdihausDIN" panose="020B0504020101020102" pitchFamily="34" charset="0"/>
            <a:cs typeface="AdihausDIN" panose="020B050402010102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921_Digital_Analytics_Template" id="{16EF9967-9395-5444-9C97-DFF82C54F1DD}" vid="{FE673D85-9B1C-6D43-87B3-28F6E0466FEF}"/>
    </a:ext>
  </a:extLst>
</a:theme>
</file>

<file path=ppt/theme/theme2.xml><?xml version="1.0" encoding="utf-8"?>
<a:theme xmlns:a="http://schemas.openxmlformats.org/drawingml/2006/main" name="Office Theme">
  <a:themeElements>
    <a:clrScheme name="GBC 201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404040"/>
      </a:accent2>
      <a:accent3>
        <a:srgbClr val="EA5649"/>
      </a:accent3>
      <a:accent4>
        <a:srgbClr val="6AB1AA"/>
      </a:accent4>
      <a:accent5>
        <a:srgbClr val="3E00C4"/>
      </a:accent5>
      <a:accent6>
        <a:srgbClr val="FCDD00"/>
      </a:accent6>
      <a:hlink>
        <a:srgbClr val="000000"/>
      </a:hlink>
      <a:folHlink>
        <a:srgbClr val="000000"/>
      </a:folHlink>
    </a:clrScheme>
    <a:fontScheme name="GBC 2015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miter lim="800000"/>
        </a:ln>
      </a:spPr>
      <a:bodyPr lIns="72000" tIns="72000" rIns="72000" bIns="72000" rtlCol="0" anchor="ctr"/>
      <a:lstStyle>
        <a:defPPr algn="ctr">
          <a:spcBef>
            <a:spcPts val="0"/>
          </a:spcBef>
          <a:defRPr sz="140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 (Sport)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969696"/>
      </a:accent2>
      <a:accent3>
        <a:srgbClr val="B71234"/>
      </a:accent3>
      <a:accent4>
        <a:srgbClr val="007934"/>
      </a:accent4>
      <a:accent5>
        <a:srgbClr val="0046AD"/>
      </a:accent5>
      <a:accent6>
        <a:srgbClr val="FFA100"/>
      </a:accent6>
      <a:hlink>
        <a:srgbClr val="000000"/>
      </a:hlink>
      <a:folHlink>
        <a:srgbClr val="000000"/>
      </a:folHlink>
    </a:clrScheme>
    <a:fontScheme name="adiNeue - AdihausDIN">
      <a:majorFont>
        <a:latin typeface="adiNeue2013 Bold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 cap="sq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 sz="14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b" anchorCtr="0">
        <a:noAutofit/>
      </a:bodyPr>
      <a:lstStyle>
        <a:defPPr algn="l">
          <a:lnSpc>
            <a:spcPct val="90000"/>
          </a:lnSpc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921_Digital_Analytics_Template</Template>
  <TotalTime>41409</TotalTime>
  <Words>272</Words>
  <Application>Microsoft Macintosh PowerPoint</Application>
  <PresentationFormat>On-screen Show (16:9)</PresentationFormat>
  <Paragraphs>5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dihausDIN</vt:lpstr>
      <vt:lpstr>adineue PRO TT Black</vt:lpstr>
      <vt:lpstr>adineue PRO TT Light</vt:lpstr>
      <vt:lpstr>Symbol</vt:lpstr>
      <vt:lpstr>Wingdings</vt:lpstr>
      <vt:lpstr>20170921_Digital_Analytics_Template</vt:lpstr>
      <vt:lpstr>think-cell Slide</vt:lpstr>
      <vt:lpstr>Features for clustering</vt:lpstr>
      <vt:lpstr>K-means clustering</vt:lpstr>
      <vt:lpstr>Basic vs. Non-Basic gross_Demand_quantity</vt:lpstr>
      <vt:lpstr>Basic vs. non-basic Article sale price   </vt:lpstr>
      <vt:lpstr>Basic vs. non-basic</vt:lpstr>
    </vt:vector>
  </TitlesOfParts>
  <Company>adidas Group</Company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</dc:title>
  <dc:creator>Zhang, Yuchun</dc:creator>
  <cp:lastModifiedBy>Comiskey, Chris [External]</cp:lastModifiedBy>
  <cp:revision>416</cp:revision>
  <cp:lastPrinted>2015-05-04T06:43:15Z</cp:lastPrinted>
  <dcterms:created xsi:type="dcterms:W3CDTF">2017-11-15T09:49:52Z</dcterms:created>
  <dcterms:modified xsi:type="dcterms:W3CDTF">2019-03-15T13:51:53Z</dcterms:modified>
  <dc:language>English-UK</dc:language>
</cp:coreProperties>
</file>